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461" r:id="rId2"/>
    <p:sldId id="462" r:id="rId3"/>
    <p:sldId id="463" r:id="rId4"/>
    <p:sldId id="464" r:id="rId5"/>
    <p:sldId id="465" r:id="rId6"/>
    <p:sldId id="466" r:id="rId7"/>
    <p:sldId id="467" r:id="rId8"/>
    <p:sldId id="468" r:id="rId9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68" autoAdjust="0"/>
    <p:restoredTop sz="86627" autoAdjust="0"/>
  </p:normalViewPr>
  <p:slideViewPr>
    <p:cSldViewPr snapToObjects="1" showGuides="1">
      <p:cViewPr varScale="1">
        <p:scale>
          <a:sx n="102" d="100"/>
          <a:sy n="102" d="100"/>
        </p:scale>
        <p:origin x="-869" y="-43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229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A9A4776-26C8-4AC3-A509-48A97B7DD56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F18A5DA-BDA2-40B3-AAE0-BCA91EABDA75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6998C3B-B2B2-42D6-A0E1-6B93C3EF0829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BA9BDDE-1C78-4845-9E6F-697C00BA342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49BAFB5-2BAC-4726-9798-8AA6D7DA5C9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0099E3-E0FF-49A0-A536-0B94DCEBFB4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H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30F3DE2-A718-4CB7-A7F1-9D099B941E0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F99ABBB-D606-4966-9D49-481165B13F7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8CC1984-03D0-4E14-AFEA-8DAF8EE685C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E2B65B0-A85B-4DD5-B688-AEFF7A37C7D3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57AAE97-92BF-413C-9760-862A2FB8799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0DC3303-DEE5-486C-BB81-60DD52AE2A5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FDF843D-A3F3-473E-A828-70254B1E986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notesSlide" Target="../notesSlides/notesSlide4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halt - Modellierung &amp; Produktdefinition</a:t>
            </a:r>
            <a:endParaRPr lang="pt-BR" dirty="0" smtClean="0"/>
          </a:p>
        </p:txBody>
      </p:sp>
      <p:sp>
        <p:nvSpPr>
          <p:cNvPr id="12312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250825" y="6678613"/>
            <a:ext cx="612775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357188" eaLnBrk="1"/>
            <a:fld id="{680A6E96-CB59-4B1A-8017-164C546A93DC}" type="datetime1">
              <a:rPr lang="de-DE" sz="700" smtClean="0">
                <a:solidFill>
                  <a:srgbClr val="FFFFFF"/>
                </a:solidFill>
              </a:rPr>
              <a:t>17.05.2013</a:t>
            </a:fld>
            <a:endParaRPr lang="de-DE" sz="700">
              <a:solidFill>
                <a:srgbClr val="FFFFFF"/>
              </a:solidFill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559735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H</a:t>
                      </a:r>
                      <a:r>
                        <a:rPr lang="de-DE" sz="2400" b="1" baseline="0" dirty="0" smtClean="0"/>
                        <a:t> Vererbung und </a:t>
                      </a:r>
                      <a:r>
                        <a:rPr lang="de-DE" sz="2400" b="1" baseline="0" dirty="0" err="1" smtClean="0"/>
                        <a:t>Derived</a:t>
                      </a:r>
                      <a:r>
                        <a:rPr lang="de-DE" sz="2400" b="1" baseline="0" dirty="0" smtClean="0"/>
                        <a:t> </a:t>
                      </a:r>
                      <a:r>
                        <a:rPr lang="de-DE" sz="2400" b="1" baseline="0" dirty="0" err="1" smtClean="0"/>
                        <a:t>Unions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59807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E4BC1A6-BBC1-463D-BC2D-D0B349411632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ktuelles Modell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2888111" y="1412776"/>
            <a:ext cx="3196058" cy="2016225"/>
            <a:chOff x="254719" y="1638296"/>
            <a:chExt cx="3600000" cy="2195055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182517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z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8111" y="1752525"/>
            <a:ext cx="3196058" cy="452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Gruppieren 14"/>
          <p:cNvGrpSpPr>
            <a:grpSpLocks/>
          </p:cNvGrpSpPr>
          <p:nvPr/>
        </p:nvGrpSpPr>
        <p:grpSpPr bwMode="auto">
          <a:xfrm>
            <a:off x="1907705" y="4287999"/>
            <a:ext cx="2428156" cy="1121221"/>
            <a:chOff x="254719" y="1410245"/>
            <a:chExt cx="3600000" cy="4279328"/>
          </a:xfrm>
        </p:grpSpPr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254719" y="2566432"/>
              <a:ext cx="3600000" cy="312314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57250"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uppieren 17"/>
          <p:cNvGrpSpPr>
            <a:grpSpLocks/>
          </p:cNvGrpSpPr>
          <p:nvPr/>
        </p:nvGrpSpPr>
        <p:grpSpPr bwMode="auto">
          <a:xfrm>
            <a:off x="4700129" y="4287999"/>
            <a:ext cx="2428156" cy="1121221"/>
            <a:chOff x="254719" y="1410243"/>
            <a:chExt cx="3600000" cy="3364707"/>
          </a:xfrm>
        </p:grpSpPr>
        <p:sp>
          <p:nvSpPr>
            <p:cNvPr id="19" name="Rectangle 5"/>
            <p:cNvSpPr>
              <a:spLocks noChangeArrowheads="1"/>
            </p:cNvSpPr>
            <p:nvPr/>
          </p:nvSpPr>
          <p:spPr bwMode="auto">
            <a:xfrm>
              <a:off x="254719" y="2289903"/>
              <a:ext cx="3600000" cy="24850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0" name="Rectangle 6"/>
            <p:cNvSpPr>
              <a:spLocks noChangeArrowheads="1"/>
            </p:cNvSpPr>
            <p:nvPr/>
          </p:nvSpPr>
          <p:spPr bwMode="auto">
            <a:xfrm>
              <a:off x="254719" y="1410243"/>
              <a:ext cx="3600000" cy="909075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57250"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581128"/>
            <a:ext cx="2428157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0128" y="4820131"/>
            <a:ext cx="2428157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" name="Gerade Verbindung mit Pfeil 13"/>
          <p:cNvCxnSpPr/>
          <p:nvPr/>
        </p:nvCxnSpPr>
        <p:spPr bwMode="auto">
          <a:xfrm flipV="1">
            <a:off x="3599893" y="3429001"/>
            <a:ext cx="0" cy="8589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Gerade Verbindung mit Pfeil 21"/>
          <p:cNvCxnSpPr/>
          <p:nvPr/>
        </p:nvCxnSpPr>
        <p:spPr bwMode="auto">
          <a:xfrm flipV="1">
            <a:off x="5436097" y="3429001"/>
            <a:ext cx="0" cy="8589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Ellipse 20"/>
          <p:cNvSpPr>
            <a:spLocks noChangeAspect="1"/>
          </p:cNvSpPr>
          <p:nvPr/>
        </p:nvSpPr>
        <p:spPr bwMode="auto">
          <a:xfrm>
            <a:off x="2911117" y="147464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5" name="Ellipse 24"/>
          <p:cNvSpPr>
            <a:spLocks noChangeAspect="1"/>
          </p:cNvSpPr>
          <p:nvPr/>
        </p:nvSpPr>
        <p:spPr bwMode="auto">
          <a:xfrm>
            <a:off x="4700128" y="4331464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 bwMode="auto">
          <a:xfrm>
            <a:off x="1913039" y="431101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478406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526435-CB00-4287-ABF0-E8AE3CABA816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Modell mit spartenübergreifenden Basisklassen</a:t>
            </a:r>
          </a:p>
        </p:txBody>
      </p: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495584" y="1315367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26846" y="1315365"/>
            <a:ext cx="2556284" cy="1476166"/>
            <a:chOff x="254719" y="1638296"/>
            <a:chExt cx="3600000" cy="1607092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2008179"/>
              <a:ext cx="3600000" cy="123720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Z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0"/>
          <p:cNvGrpSpPr>
            <a:grpSpLocks noChangeAspect="1"/>
          </p:cNvGrpSpPr>
          <p:nvPr/>
        </p:nvGrpSpPr>
        <p:grpSpPr>
          <a:xfrm>
            <a:off x="526846" y="4547867"/>
            <a:ext cx="2556284" cy="907957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3671466" y="4547868"/>
            <a:ext cx="2111964" cy="907957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6347222" y="4547868"/>
            <a:ext cx="2268252" cy="907957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22" name="Gerade Verbindung mit Pfeil 21"/>
          <p:cNvCxnSpPr>
            <a:cxnSpLocks noChangeAspect="1"/>
          </p:cNvCxnSpPr>
          <p:nvPr/>
        </p:nvCxnSpPr>
        <p:spPr bwMode="auto">
          <a:xfrm flipH="1">
            <a:off x="3083130" y="1939218"/>
            <a:ext cx="138690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Gerade Verbindung mit Pfeil 24"/>
          <p:cNvCxnSpPr>
            <a:cxnSpLocks noChangeAspect="1"/>
            <a:endCxn id="36" idx="2"/>
          </p:cNvCxnSpPr>
          <p:nvPr/>
        </p:nvCxnSpPr>
        <p:spPr bwMode="auto">
          <a:xfrm flipV="1">
            <a:off x="1804988" y="3201539"/>
            <a:ext cx="0" cy="13384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" name="Gerade Verbindung mit Pfeil 28"/>
          <p:cNvCxnSpPr>
            <a:cxnSpLocks noChangeAspect="1"/>
          </p:cNvCxnSpPr>
          <p:nvPr/>
        </p:nvCxnSpPr>
        <p:spPr bwMode="auto">
          <a:xfrm flipH="1">
            <a:off x="3083130" y="5023777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171" name="Gerade Verbindung 7170"/>
          <p:cNvCxnSpPr>
            <a:cxnSpLocks noChangeAspect="1"/>
          </p:cNvCxnSpPr>
          <p:nvPr/>
        </p:nvCxnSpPr>
        <p:spPr bwMode="auto">
          <a:xfrm>
            <a:off x="7559492" y="5457076"/>
            <a:ext cx="0" cy="9348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>
            <a:cxnSpLocks noChangeAspect="1"/>
          </p:cNvCxnSpPr>
          <p:nvPr/>
        </p:nvCxnSpPr>
        <p:spPr bwMode="auto">
          <a:xfrm flipH="1">
            <a:off x="1804988" y="6390684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cxnSpLocks noChangeAspect="1"/>
            <a:stCxn id="12" idx="2"/>
            <a:endCxn id="12" idx="2"/>
          </p:cNvCxnSpPr>
          <p:nvPr/>
        </p:nvCxnSpPr>
        <p:spPr bwMode="auto">
          <a:xfrm>
            <a:off x="1804988" y="5455824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cxnSpLocks noChangeAspect="1"/>
          </p:cNvCxnSpPr>
          <p:nvPr/>
        </p:nvCxnSpPr>
        <p:spPr bwMode="auto">
          <a:xfrm flipV="1">
            <a:off x="1804988" y="5457070"/>
            <a:ext cx="0" cy="9348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Textfeld 52"/>
          <p:cNvSpPr txBox="1">
            <a:spLocks noChangeAspect="1" noChangeArrowheads="1"/>
          </p:cNvSpPr>
          <p:nvPr/>
        </p:nvSpPr>
        <p:spPr bwMode="auto">
          <a:xfrm>
            <a:off x="1804988" y="4366303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7181" name="Gerade Verbindung 7180"/>
          <p:cNvCxnSpPr>
            <a:cxnSpLocks noChangeAspect="1"/>
          </p:cNvCxnSpPr>
          <p:nvPr/>
        </p:nvCxnSpPr>
        <p:spPr bwMode="auto">
          <a:xfrm flipV="1">
            <a:off x="5207366" y="2791531"/>
            <a:ext cx="0" cy="1748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>
            <a:cxnSpLocks noChangeAspect="1"/>
          </p:cNvCxnSpPr>
          <p:nvPr/>
        </p:nvCxnSpPr>
        <p:spPr bwMode="auto">
          <a:xfrm flipV="1">
            <a:off x="7148574" y="2791531"/>
            <a:ext cx="0" cy="17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spect="1" noChangeArrowheads="1"/>
          </p:cNvSpPr>
          <p:nvPr/>
        </p:nvSpPr>
        <p:spPr bwMode="auto">
          <a:xfrm>
            <a:off x="7168338" y="4365824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spect="1" noChangeArrowheads="1"/>
          </p:cNvSpPr>
          <p:nvPr/>
        </p:nvSpPr>
        <p:spPr bwMode="auto">
          <a:xfrm>
            <a:off x="5209834" y="4366303"/>
            <a:ext cx="142875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31" name="Gerade Verbindung 30"/>
          <p:cNvCxnSpPr/>
          <p:nvPr/>
        </p:nvCxnSpPr>
        <p:spPr bwMode="auto">
          <a:xfrm>
            <a:off x="526846" y="5131789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aute 35"/>
          <p:cNvSpPr/>
          <p:nvPr>
            <p:custDataLst>
              <p:tags r:id="rId1"/>
            </p:custDataLst>
          </p:nvPr>
        </p:nvSpPr>
        <p:spPr bwMode="gray">
          <a:xfrm>
            <a:off x="1675272" y="2791530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8" name="Raute 37"/>
          <p:cNvSpPr/>
          <p:nvPr>
            <p:custDataLst>
              <p:tags r:id="rId2"/>
            </p:custDataLst>
          </p:nvPr>
        </p:nvSpPr>
        <p:spPr bwMode="gray">
          <a:xfrm>
            <a:off x="5080118" y="2806988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9" name="Raute 38"/>
          <p:cNvSpPr/>
          <p:nvPr>
            <p:custDataLst>
              <p:tags r:id="rId3"/>
            </p:custDataLst>
          </p:nvPr>
        </p:nvSpPr>
        <p:spPr bwMode="gray">
          <a:xfrm>
            <a:off x="7004763" y="2791531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7" name="Ellipse 36"/>
          <p:cNvSpPr>
            <a:spLocks noChangeAspect="1"/>
          </p:cNvSpPr>
          <p:nvPr/>
        </p:nvSpPr>
        <p:spPr bwMode="auto">
          <a:xfrm>
            <a:off x="550510" y="137723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0" name="Ellipse 39"/>
          <p:cNvSpPr>
            <a:spLocks noChangeAspect="1"/>
          </p:cNvSpPr>
          <p:nvPr/>
        </p:nvSpPr>
        <p:spPr bwMode="auto">
          <a:xfrm>
            <a:off x="4539888" y="137725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1" name="Ellipse 40"/>
          <p:cNvSpPr>
            <a:spLocks noChangeAspect="1"/>
          </p:cNvSpPr>
          <p:nvPr/>
        </p:nvSpPr>
        <p:spPr bwMode="auto">
          <a:xfrm>
            <a:off x="550510" y="460974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2" name="Ellipse 41"/>
          <p:cNvSpPr>
            <a:spLocks noChangeAspect="1"/>
          </p:cNvSpPr>
          <p:nvPr/>
        </p:nvSpPr>
        <p:spPr bwMode="auto">
          <a:xfrm>
            <a:off x="3671466" y="460974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383226" y="45917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95920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13A31F3-B120-4DAD-9062-FF226705F808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Einführung der Basisklass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681219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A2670C2-C758-4BAD-A91B-CE5C57376E7C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Erwartete Semantik des Modells</a:t>
            </a:r>
            <a:endParaRPr lang="de-DE" dirty="0"/>
          </a:p>
        </p:txBody>
      </p: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808594" y="1304766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39856" y="1304764"/>
            <a:ext cx="2556284" cy="1476166"/>
            <a:chOff x="254719" y="1638296"/>
            <a:chExt cx="3600000" cy="1607092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2008179"/>
              <a:ext cx="3600000" cy="123720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Z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0"/>
          <p:cNvGrpSpPr>
            <a:grpSpLocks noChangeAspect="1"/>
          </p:cNvGrpSpPr>
          <p:nvPr/>
        </p:nvGrpSpPr>
        <p:grpSpPr>
          <a:xfrm>
            <a:off x="839856" y="4537266"/>
            <a:ext cx="2556284" cy="907957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3984476" y="4537267"/>
            <a:ext cx="2111964" cy="907957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6624228" y="4537267"/>
            <a:ext cx="2304256" cy="907957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22" name="Gerade Verbindung mit Pfeil 21"/>
          <p:cNvCxnSpPr>
            <a:cxnSpLocks noChangeAspect="1"/>
          </p:cNvCxnSpPr>
          <p:nvPr/>
        </p:nvCxnSpPr>
        <p:spPr bwMode="auto">
          <a:xfrm flipH="1">
            <a:off x="3396140" y="1928617"/>
            <a:ext cx="138690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Gerade Verbindung mit Pfeil 24"/>
          <p:cNvCxnSpPr>
            <a:cxnSpLocks noChangeAspect="1"/>
            <a:endCxn id="36" idx="2"/>
          </p:cNvCxnSpPr>
          <p:nvPr/>
        </p:nvCxnSpPr>
        <p:spPr bwMode="auto">
          <a:xfrm flipV="1">
            <a:off x="2117998" y="3190938"/>
            <a:ext cx="0" cy="13384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" name="Gerade Verbindung mit Pfeil 28"/>
          <p:cNvCxnSpPr>
            <a:cxnSpLocks noChangeAspect="1"/>
          </p:cNvCxnSpPr>
          <p:nvPr/>
        </p:nvCxnSpPr>
        <p:spPr bwMode="auto">
          <a:xfrm flipH="1">
            <a:off x="3396140" y="5013176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171" name="Gerade Verbindung 7170"/>
          <p:cNvCxnSpPr>
            <a:cxnSpLocks noChangeAspect="1"/>
          </p:cNvCxnSpPr>
          <p:nvPr/>
        </p:nvCxnSpPr>
        <p:spPr bwMode="auto">
          <a:xfrm>
            <a:off x="7872502" y="5446475"/>
            <a:ext cx="0" cy="9348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>
            <a:cxnSpLocks noChangeAspect="1"/>
          </p:cNvCxnSpPr>
          <p:nvPr/>
        </p:nvCxnSpPr>
        <p:spPr bwMode="auto">
          <a:xfrm flipH="1">
            <a:off x="2117998" y="6380083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cxnSpLocks noChangeAspect="1"/>
            <a:stCxn id="12" idx="2"/>
            <a:endCxn id="12" idx="2"/>
          </p:cNvCxnSpPr>
          <p:nvPr/>
        </p:nvCxnSpPr>
        <p:spPr bwMode="auto">
          <a:xfrm>
            <a:off x="2117998" y="5445223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cxnSpLocks noChangeAspect="1"/>
          </p:cNvCxnSpPr>
          <p:nvPr/>
        </p:nvCxnSpPr>
        <p:spPr bwMode="auto">
          <a:xfrm flipV="1">
            <a:off x="2117998" y="5446469"/>
            <a:ext cx="0" cy="9348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Textfeld 52"/>
          <p:cNvSpPr txBox="1">
            <a:spLocks noChangeAspect="1" noChangeArrowheads="1"/>
          </p:cNvSpPr>
          <p:nvPr/>
        </p:nvSpPr>
        <p:spPr bwMode="auto">
          <a:xfrm>
            <a:off x="2117998" y="4355702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7181" name="Gerade Verbindung 7180"/>
          <p:cNvCxnSpPr>
            <a:cxnSpLocks noChangeAspect="1"/>
          </p:cNvCxnSpPr>
          <p:nvPr/>
        </p:nvCxnSpPr>
        <p:spPr bwMode="auto">
          <a:xfrm flipV="1">
            <a:off x="5520376" y="2780930"/>
            <a:ext cx="0" cy="1748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>
            <a:cxnSpLocks noChangeAspect="1"/>
          </p:cNvCxnSpPr>
          <p:nvPr/>
        </p:nvCxnSpPr>
        <p:spPr bwMode="auto">
          <a:xfrm flipV="1">
            <a:off x="7461584" y="2780930"/>
            <a:ext cx="0" cy="17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spect="1" noChangeArrowheads="1"/>
          </p:cNvSpPr>
          <p:nvPr/>
        </p:nvSpPr>
        <p:spPr bwMode="auto">
          <a:xfrm>
            <a:off x="7481348" y="4355223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spect="1" noChangeArrowheads="1"/>
          </p:cNvSpPr>
          <p:nvPr/>
        </p:nvSpPr>
        <p:spPr bwMode="auto">
          <a:xfrm>
            <a:off x="5522844" y="4355702"/>
            <a:ext cx="142875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91" name="AutoShape 3"/>
          <p:cNvSpPr>
            <a:spLocks noChangeArrowheads="1"/>
          </p:cNvSpPr>
          <p:nvPr/>
        </p:nvSpPr>
        <p:spPr bwMode="auto">
          <a:xfrm>
            <a:off x="71672" y="2945188"/>
            <a:ext cx="1583696" cy="1000253"/>
          </a:xfrm>
          <a:prstGeom prst="wedgeRoundRectCallout">
            <a:avLst>
              <a:gd name="adj1" fmla="val 74821"/>
              <a:gd name="adj2" fmla="val 32626"/>
              <a:gd name="adj3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098" rIns="0" bIns="0" anchor="ctr"/>
          <a:lstStyle/>
          <a:p>
            <a:pPr algn="ctr"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</a:tabLst>
            </a:pP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Fügt man eine Zusatzdeckung zum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HausratVertra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hinzu, erwartet man, dass der Vertrag diese auch als Deckung zurückliefert.</a:t>
            </a:r>
          </a:p>
        </p:txBody>
      </p:sp>
      <p:sp>
        <p:nvSpPr>
          <p:cNvPr id="95" name="AutoShape 4"/>
          <p:cNvSpPr>
            <a:spLocks noChangeArrowheads="1"/>
          </p:cNvSpPr>
          <p:nvPr/>
        </p:nvSpPr>
        <p:spPr bwMode="auto">
          <a:xfrm>
            <a:off x="2578743" y="3503306"/>
            <a:ext cx="1583696" cy="884271"/>
          </a:xfrm>
          <a:prstGeom prst="wedgeRoundRectCallout">
            <a:avLst>
              <a:gd name="adj1" fmla="val -77104"/>
              <a:gd name="adj2" fmla="val -18785"/>
              <a:gd name="adj3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098" rIns="0" bIns="0" anchor="ctr"/>
          <a:lstStyle/>
          <a:p>
            <a:pPr algn="ctr"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</a:tabLst>
            </a:pP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Es ist nicht möglich, eine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KfzDeckun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zum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HausratVertra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hinzuzufügen.</a:t>
            </a:r>
          </a:p>
        </p:txBody>
      </p:sp>
      <p:cxnSp>
        <p:nvCxnSpPr>
          <p:cNvPr id="31" name="Gerade Verbindung 30"/>
          <p:cNvCxnSpPr/>
          <p:nvPr/>
        </p:nvCxnSpPr>
        <p:spPr bwMode="auto">
          <a:xfrm>
            <a:off x="839856" y="5121188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aute 35"/>
          <p:cNvSpPr/>
          <p:nvPr>
            <p:custDataLst>
              <p:tags r:id="rId1"/>
            </p:custDataLst>
          </p:nvPr>
        </p:nvSpPr>
        <p:spPr bwMode="gray">
          <a:xfrm>
            <a:off x="1988282" y="2780929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8" name="Raute 37"/>
          <p:cNvSpPr/>
          <p:nvPr>
            <p:custDataLst>
              <p:tags r:id="rId2"/>
            </p:custDataLst>
          </p:nvPr>
        </p:nvSpPr>
        <p:spPr bwMode="gray">
          <a:xfrm>
            <a:off x="5393128" y="2796387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9" name="Raute 38"/>
          <p:cNvSpPr/>
          <p:nvPr>
            <p:custDataLst>
              <p:tags r:id="rId3"/>
            </p:custDataLst>
          </p:nvPr>
        </p:nvSpPr>
        <p:spPr bwMode="gray">
          <a:xfrm>
            <a:off x="7317773" y="2780930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40" name="Ellipse 39"/>
          <p:cNvSpPr>
            <a:spLocks noChangeAspect="1"/>
          </p:cNvSpPr>
          <p:nvPr/>
        </p:nvSpPr>
        <p:spPr bwMode="auto">
          <a:xfrm>
            <a:off x="899616" y="136663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1" name="Ellipse 40"/>
          <p:cNvSpPr>
            <a:spLocks noChangeAspect="1"/>
          </p:cNvSpPr>
          <p:nvPr/>
        </p:nvSpPr>
        <p:spPr bwMode="auto">
          <a:xfrm>
            <a:off x="4840364" y="138395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2" name="Ellipse 41"/>
          <p:cNvSpPr>
            <a:spLocks noChangeAspect="1"/>
          </p:cNvSpPr>
          <p:nvPr/>
        </p:nvSpPr>
        <p:spPr bwMode="auto">
          <a:xfrm>
            <a:off x="863520" y="4597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4006721" y="460796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5" name="Ellipse 44"/>
          <p:cNvSpPr>
            <a:spLocks noChangeAspect="1"/>
          </p:cNvSpPr>
          <p:nvPr/>
        </p:nvSpPr>
        <p:spPr bwMode="auto">
          <a:xfrm>
            <a:off x="6660256" y="45995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01680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DF27932-80C3-4FCE-88BD-9704E30A58CB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Abbildung der Semantik durch </a:t>
            </a:r>
            <a:r>
              <a:rPr lang="de-DE" dirty="0" err="1"/>
              <a:t>Derived</a:t>
            </a:r>
            <a:r>
              <a:rPr lang="de-DE" dirty="0"/>
              <a:t> </a:t>
            </a:r>
            <a:r>
              <a:rPr lang="de-DE" dirty="0" err="1"/>
              <a:t>Unions</a:t>
            </a:r>
            <a:endParaRPr lang="de-DE" dirty="0"/>
          </a:p>
        </p:txBody>
      </p: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808594" y="1304766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39856" y="1304764"/>
            <a:ext cx="2556284" cy="1476166"/>
            <a:chOff x="254719" y="1638296"/>
            <a:chExt cx="3600000" cy="1607092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2008179"/>
              <a:ext cx="3600000" cy="123720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Z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0"/>
          <p:cNvGrpSpPr>
            <a:grpSpLocks noChangeAspect="1"/>
          </p:cNvGrpSpPr>
          <p:nvPr/>
        </p:nvGrpSpPr>
        <p:grpSpPr>
          <a:xfrm>
            <a:off x="839856" y="4537266"/>
            <a:ext cx="2556284" cy="907957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3984476" y="4537267"/>
            <a:ext cx="2111964" cy="907957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6624228" y="4537267"/>
            <a:ext cx="2304256" cy="907957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22" name="Gerade Verbindung mit Pfeil 21"/>
          <p:cNvCxnSpPr>
            <a:cxnSpLocks noChangeAspect="1"/>
          </p:cNvCxnSpPr>
          <p:nvPr/>
        </p:nvCxnSpPr>
        <p:spPr bwMode="auto">
          <a:xfrm flipH="1">
            <a:off x="3396140" y="1928617"/>
            <a:ext cx="138690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Gerade Verbindung mit Pfeil 24"/>
          <p:cNvCxnSpPr>
            <a:cxnSpLocks noChangeAspect="1"/>
            <a:endCxn id="36" idx="2"/>
          </p:cNvCxnSpPr>
          <p:nvPr/>
        </p:nvCxnSpPr>
        <p:spPr bwMode="auto">
          <a:xfrm flipV="1">
            <a:off x="2117998" y="3190938"/>
            <a:ext cx="0" cy="13384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" name="Gerade Verbindung mit Pfeil 28"/>
          <p:cNvCxnSpPr>
            <a:cxnSpLocks noChangeAspect="1"/>
          </p:cNvCxnSpPr>
          <p:nvPr/>
        </p:nvCxnSpPr>
        <p:spPr bwMode="auto">
          <a:xfrm flipH="1">
            <a:off x="3396140" y="5013176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171" name="Gerade Verbindung 7170"/>
          <p:cNvCxnSpPr>
            <a:cxnSpLocks noChangeAspect="1"/>
          </p:cNvCxnSpPr>
          <p:nvPr/>
        </p:nvCxnSpPr>
        <p:spPr bwMode="auto">
          <a:xfrm>
            <a:off x="7872502" y="5446475"/>
            <a:ext cx="0" cy="9348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>
            <a:cxnSpLocks noChangeAspect="1"/>
          </p:cNvCxnSpPr>
          <p:nvPr/>
        </p:nvCxnSpPr>
        <p:spPr bwMode="auto">
          <a:xfrm flipH="1">
            <a:off x="2117998" y="6380083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cxnSpLocks noChangeAspect="1"/>
            <a:stCxn id="12" idx="2"/>
            <a:endCxn id="12" idx="2"/>
          </p:cNvCxnSpPr>
          <p:nvPr/>
        </p:nvCxnSpPr>
        <p:spPr bwMode="auto">
          <a:xfrm>
            <a:off x="2117998" y="5445223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cxnSpLocks noChangeAspect="1"/>
          </p:cNvCxnSpPr>
          <p:nvPr/>
        </p:nvCxnSpPr>
        <p:spPr bwMode="auto">
          <a:xfrm flipV="1">
            <a:off x="2117998" y="5446469"/>
            <a:ext cx="0" cy="9348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Textfeld 52"/>
          <p:cNvSpPr txBox="1">
            <a:spLocks noChangeAspect="1" noChangeArrowheads="1"/>
          </p:cNvSpPr>
          <p:nvPr/>
        </p:nvSpPr>
        <p:spPr bwMode="auto">
          <a:xfrm>
            <a:off x="2117998" y="4355702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7181" name="Gerade Verbindung 7180"/>
          <p:cNvCxnSpPr>
            <a:cxnSpLocks noChangeAspect="1"/>
          </p:cNvCxnSpPr>
          <p:nvPr/>
        </p:nvCxnSpPr>
        <p:spPr bwMode="auto">
          <a:xfrm flipV="1">
            <a:off x="5520376" y="2780930"/>
            <a:ext cx="0" cy="1748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>
            <a:cxnSpLocks noChangeAspect="1"/>
          </p:cNvCxnSpPr>
          <p:nvPr/>
        </p:nvCxnSpPr>
        <p:spPr bwMode="auto">
          <a:xfrm flipV="1">
            <a:off x="7461584" y="2780930"/>
            <a:ext cx="0" cy="17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spect="1" noChangeArrowheads="1"/>
          </p:cNvSpPr>
          <p:nvPr/>
        </p:nvSpPr>
        <p:spPr bwMode="auto">
          <a:xfrm>
            <a:off x="7481348" y="4355223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spect="1" noChangeArrowheads="1"/>
          </p:cNvSpPr>
          <p:nvPr/>
        </p:nvSpPr>
        <p:spPr bwMode="auto">
          <a:xfrm>
            <a:off x="5522844" y="4355702"/>
            <a:ext cx="142875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31" name="Gerade Verbindung 30"/>
          <p:cNvCxnSpPr/>
          <p:nvPr/>
        </p:nvCxnSpPr>
        <p:spPr bwMode="auto">
          <a:xfrm>
            <a:off x="839856" y="5121188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aute 35"/>
          <p:cNvSpPr/>
          <p:nvPr>
            <p:custDataLst>
              <p:tags r:id="rId1"/>
            </p:custDataLst>
          </p:nvPr>
        </p:nvSpPr>
        <p:spPr bwMode="gray">
          <a:xfrm>
            <a:off x="1988282" y="2780929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8" name="Raute 37"/>
          <p:cNvSpPr/>
          <p:nvPr>
            <p:custDataLst>
              <p:tags r:id="rId2"/>
            </p:custDataLst>
          </p:nvPr>
        </p:nvSpPr>
        <p:spPr bwMode="gray">
          <a:xfrm>
            <a:off x="5393128" y="2796387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9" name="Raute 38"/>
          <p:cNvSpPr/>
          <p:nvPr>
            <p:custDataLst>
              <p:tags r:id="rId3"/>
            </p:custDataLst>
          </p:nvPr>
        </p:nvSpPr>
        <p:spPr bwMode="gray">
          <a:xfrm>
            <a:off x="7317773" y="2780930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40" name="Ellipse 39"/>
          <p:cNvSpPr>
            <a:spLocks noChangeAspect="1"/>
          </p:cNvSpPr>
          <p:nvPr/>
        </p:nvSpPr>
        <p:spPr bwMode="auto">
          <a:xfrm>
            <a:off x="899616" y="136663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1" name="Ellipse 40"/>
          <p:cNvSpPr>
            <a:spLocks noChangeAspect="1"/>
          </p:cNvSpPr>
          <p:nvPr/>
        </p:nvSpPr>
        <p:spPr bwMode="auto">
          <a:xfrm>
            <a:off x="4840364" y="138395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2" name="Ellipse 41"/>
          <p:cNvSpPr>
            <a:spLocks noChangeAspect="1"/>
          </p:cNvSpPr>
          <p:nvPr/>
        </p:nvSpPr>
        <p:spPr bwMode="auto">
          <a:xfrm>
            <a:off x="863520" y="4597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4006721" y="460796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5" name="Ellipse 44"/>
          <p:cNvSpPr>
            <a:spLocks noChangeAspect="1"/>
          </p:cNvSpPr>
          <p:nvPr/>
        </p:nvSpPr>
        <p:spPr bwMode="auto">
          <a:xfrm>
            <a:off x="6660256" y="45995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6" name="Textfeld 61"/>
          <p:cNvSpPr txBox="1">
            <a:spLocks noChangeArrowheads="1"/>
          </p:cNvSpPr>
          <p:nvPr/>
        </p:nvSpPr>
        <p:spPr bwMode="auto">
          <a:xfrm>
            <a:off x="2247713" y="3655169"/>
            <a:ext cx="900100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smtClean="0">
                <a:solidFill>
                  <a:srgbClr val="005596"/>
                </a:solidFill>
              </a:rPr>
              <a:t>/Deckung {</a:t>
            </a:r>
            <a:r>
              <a:rPr lang="de-DE" sz="800" dirty="0" err="1" smtClean="0">
                <a:solidFill>
                  <a:srgbClr val="005596"/>
                </a:solidFill>
              </a:rPr>
              <a:t>union</a:t>
            </a:r>
            <a:r>
              <a:rPr lang="de-DE" sz="800" dirty="0" smtClean="0">
                <a:solidFill>
                  <a:srgbClr val="005596"/>
                </a:solidFill>
              </a:rPr>
              <a:t>}</a:t>
            </a:r>
            <a:endParaRPr lang="de-DE" sz="800" dirty="0">
              <a:solidFill>
                <a:srgbClr val="005596"/>
              </a:solidFill>
            </a:endParaRPr>
          </a:p>
        </p:txBody>
      </p:sp>
      <p:sp>
        <p:nvSpPr>
          <p:cNvPr id="47" name="Textfeld 61"/>
          <p:cNvSpPr txBox="1">
            <a:spLocks noChangeArrowheads="1"/>
          </p:cNvSpPr>
          <p:nvPr/>
        </p:nvSpPr>
        <p:spPr bwMode="auto">
          <a:xfrm>
            <a:off x="5637490" y="3633646"/>
            <a:ext cx="900100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err="1">
                <a:solidFill>
                  <a:srgbClr val="005596"/>
                </a:solidFill>
              </a:rPr>
              <a:t>s</a:t>
            </a:r>
            <a:r>
              <a:rPr lang="de-DE" sz="800" dirty="0" err="1" smtClean="0">
                <a:solidFill>
                  <a:srgbClr val="005596"/>
                </a:solidFill>
              </a:rPr>
              <a:t>ubsets</a:t>
            </a:r>
            <a:r>
              <a:rPr lang="de-DE" sz="800" dirty="0" smtClean="0">
                <a:solidFill>
                  <a:srgbClr val="005596"/>
                </a:solidFill>
              </a:rPr>
              <a:t> Deckung</a:t>
            </a:r>
            <a:endParaRPr lang="de-DE" sz="800" dirty="0">
              <a:solidFill>
                <a:srgbClr val="005596"/>
              </a:solidFill>
            </a:endParaRPr>
          </a:p>
        </p:txBody>
      </p:sp>
      <p:sp>
        <p:nvSpPr>
          <p:cNvPr id="48" name="Textfeld 61"/>
          <p:cNvSpPr txBox="1">
            <a:spLocks noChangeArrowheads="1"/>
          </p:cNvSpPr>
          <p:nvPr/>
        </p:nvSpPr>
        <p:spPr bwMode="auto">
          <a:xfrm>
            <a:off x="7585850" y="3643171"/>
            <a:ext cx="900100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err="1">
                <a:solidFill>
                  <a:srgbClr val="005596"/>
                </a:solidFill>
              </a:rPr>
              <a:t>s</a:t>
            </a:r>
            <a:r>
              <a:rPr lang="de-DE" sz="800" dirty="0" err="1" smtClean="0">
                <a:solidFill>
                  <a:srgbClr val="005596"/>
                </a:solidFill>
              </a:rPr>
              <a:t>ubsets</a:t>
            </a:r>
            <a:r>
              <a:rPr lang="de-DE" sz="800" dirty="0" smtClean="0">
                <a:solidFill>
                  <a:srgbClr val="005596"/>
                </a:solidFill>
              </a:rPr>
              <a:t> Deckung</a:t>
            </a:r>
            <a:endParaRPr lang="de-DE" sz="800" dirty="0">
              <a:solidFill>
                <a:srgbClr val="005596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09941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34516F-36B6-4E0E-B12F-DAB0AC9A7A8E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Demo: </a:t>
            </a:r>
            <a:r>
              <a:rPr lang="de-DE" err="1" smtClean="0"/>
              <a:t>Derived</a:t>
            </a:r>
            <a:r>
              <a:rPr lang="de-DE" smtClean="0"/>
              <a:t> Un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10175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34516F-36B6-4E0E-B12F-DAB0AC9A7A8E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 lvl="0"/>
            <a:r>
              <a:rPr lang="de-DE" dirty="0"/>
              <a:t>Übungen zu Kapitel </a:t>
            </a:r>
            <a:r>
              <a:rPr lang="de-DE" dirty="0" smtClean="0"/>
              <a:t>III.H: </a:t>
            </a:r>
            <a:r>
              <a:rPr lang="de-DE" dirty="0" err="1"/>
              <a:t>Derived</a:t>
            </a:r>
            <a:r>
              <a:rPr lang="de-DE" dirty="0"/>
              <a:t> </a:t>
            </a:r>
            <a:r>
              <a:rPr lang="de-DE" dirty="0" err="1"/>
              <a:t>Union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0520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0</Words>
  <Application>Microsoft Office PowerPoint</Application>
  <PresentationFormat>Bildschirmpräsentation (4:3)</PresentationFormat>
  <Paragraphs>116</Paragraphs>
  <Slides>8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Master - ConVista General </vt:lpstr>
      <vt:lpstr>Inhalt - Modellierung &amp; Produktdefinition</vt:lpstr>
      <vt:lpstr>Aktuelles Modell</vt:lpstr>
      <vt:lpstr>Modell mit spartenübergreifenden Basisklassen</vt:lpstr>
      <vt:lpstr>Demo: Einführung der Basisklassen</vt:lpstr>
      <vt:lpstr>Erwartete Semantik des Modells</vt:lpstr>
      <vt:lpstr>Abbildung der Semantik durch Derived Unions</vt:lpstr>
      <vt:lpstr>Demo: Derived Union</vt:lpstr>
      <vt:lpstr>Übungen zu Kapitel III.H: Derived Unions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nbschediwy</cp:lastModifiedBy>
  <cp:revision>1628</cp:revision>
  <cp:lastPrinted>2012-11-19T11:42:38Z</cp:lastPrinted>
  <dcterms:created xsi:type="dcterms:W3CDTF">2005-03-22T09:36:15Z</dcterms:created>
  <dcterms:modified xsi:type="dcterms:W3CDTF">2013-05-17T14:56:59Z</dcterms:modified>
  <cp:category>Master</cp:category>
  <cp:contentStatus>RELEASED</cp:contentStatus>
</cp:coreProperties>
</file>